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343" r:id="rId2"/>
    <p:sldId id="2147375041" r:id="rId3"/>
    <p:sldId id="258" r:id="rId4"/>
    <p:sldId id="265" r:id="rId5"/>
    <p:sldId id="2147375038" r:id="rId6"/>
    <p:sldId id="2147375039" r:id="rId7"/>
    <p:sldId id="256" r:id="rId8"/>
    <p:sldId id="2147375032" r:id="rId9"/>
    <p:sldId id="2147375037" r:id="rId10"/>
    <p:sldId id="2147375036" r:id="rId11"/>
    <p:sldId id="214737502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0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DA61F6-4BCC-5F42-9CFC-F42AA279B3B8}" v="1" dt="2023-06-17T06:53:12.4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52" autoAdjust="0"/>
    <p:restoredTop sz="97481"/>
  </p:normalViewPr>
  <p:slideViewPr>
    <p:cSldViewPr snapToGrid="0">
      <p:cViewPr varScale="1">
        <p:scale>
          <a:sx n="186" d="100"/>
          <a:sy n="186" d="100"/>
        </p:scale>
        <p:origin x="248" y="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en Gao" userId="753ca5ad-a66a-4072-86ff-fe9bc8c0233d" providerId="ADAL" clId="{82DA61F6-4BCC-5F42-9CFC-F42AA279B3B8}"/>
    <pc:docChg chg="custSel addSld delSld modSld sldOrd">
      <pc:chgData name="Zhen Gao" userId="753ca5ad-a66a-4072-86ff-fe9bc8c0233d" providerId="ADAL" clId="{82DA61F6-4BCC-5F42-9CFC-F42AA279B3B8}" dt="2023-06-20T06:29:46.703" v="739" actId="478"/>
      <pc:docMkLst>
        <pc:docMk/>
      </pc:docMkLst>
      <pc:sldChg chg="delSp mod">
        <pc:chgData name="Zhen Gao" userId="753ca5ad-a66a-4072-86ff-fe9bc8c0233d" providerId="ADAL" clId="{82DA61F6-4BCC-5F42-9CFC-F42AA279B3B8}" dt="2023-06-20T06:29:46.703" v="739" actId="478"/>
        <pc:sldMkLst>
          <pc:docMk/>
          <pc:sldMk cId="2270139844" sldId="265"/>
        </pc:sldMkLst>
        <pc:spChg chg="del">
          <ac:chgData name="Zhen Gao" userId="753ca5ad-a66a-4072-86ff-fe9bc8c0233d" providerId="ADAL" clId="{82DA61F6-4BCC-5F42-9CFC-F42AA279B3B8}" dt="2023-06-20T06:29:46.703" v="739" actId="478"/>
          <ac:spMkLst>
            <pc:docMk/>
            <pc:sldMk cId="2270139844" sldId="265"/>
            <ac:spMk id="6" creationId="{87CCBC24-E4A7-8086-82C5-6E34ABEE8098}"/>
          </ac:spMkLst>
        </pc:spChg>
      </pc:sldChg>
      <pc:sldChg chg="modSp add mod ord modTransition">
        <pc:chgData name="Zhen Gao" userId="753ca5ad-a66a-4072-86ff-fe9bc8c0233d" providerId="ADAL" clId="{82DA61F6-4BCC-5F42-9CFC-F42AA279B3B8}" dt="2023-06-20T06:19:27.322" v="481" actId="207"/>
        <pc:sldMkLst>
          <pc:docMk/>
          <pc:sldMk cId="2888273451" sldId="2147375026"/>
        </pc:sldMkLst>
        <pc:spChg chg="mod">
          <ac:chgData name="Zhen Gao" userId="753ca5ad-a66a-4072-86ff-fe9bc8c0233d" providerId="ADAL" clId="{82DA61F6-4BCC-5F42-9CFC-F42AA279B3B8}" dt="2023-06-20T06:19:27.322" v="481" actId="207"/>
          <ac:spMkLst>
            <pc:docMk/>
            <pc:sldMk cId="2888273451" sldId="2147375026"/>
            <ac:spMk id="2" creationId="{29AF49ED-EAF7-F2EB-EB55-8B4B2761484D}"/>
          </ac:spMkLst>
        </pc:spChg>
      </pc:sldChg>
      <pc:sldChg chg="add modTransition">
        <pc:chgData name="Zhen Gao" userId="753ca5ad-a66a-4072-86ff-fe9bc8c0233d" providerId="ADAL" clId="{82DA61F6-4BCC-5F42-9CFC-F42AA279B3B8}" dt="2023-06-17T06:53:12.479" v="0"/>
        <pc:sldMkLst>
          <pc:docMk/>
          <pc:sldMk cId="2260519135" sldId="2147375032"/>
        </pc:sldMkLst>
      </pc:sldChg>
      <pc:sldChg chg="add modTransition">
        <pc:chgData name="Zhen Gao" userId="753ca5ad-a66a-4072-86ff-fe9bc8c0233d" providerId="ADAL" clId="{82DA61F6-4BCC-5F42-9CFC-F42AA279B3B8}" dt="2023-06-17T06:53:12.479" v="0"/>
        <pc:sldMkLst>
          <pc:docMk/>
          <pc:sldMk cId="3312618218" sldId="2147375036"/>
        </pc:sldMkLst>
      </pc:sldChg>
      <pc:sldChg chg="add modTransition">
        <pc:chgData name="Zhen Gao" userId="753ca5ad-a66a-4072-86ff-fe9bc8c0233d" providerId="ADAL" clId="{82DA61F6-4BCC-5F42-9CFC-F42AA279B3B8}" dt="2023-06-17T06:53:12.479" v="0"/>
        <pc:sldMkLst>
          <pc:docMk/>
          <pc:sldMk cId="3277848643" sldId="2147375037"/>
        </pc:sldMkLst>
      </pc:sldChg>
      <pc:sldChg chg="addSp delSp modSp new mod">
        <pc:chgData name="Zhen Gao" userId="753ca5ad-a66a-4072-86ff-fe9bc8c0233d" providerId="ADAL" clId="{82DA61F6-4BCC-5F42-9CFC-F42AA279B3B8}" dt="2023-06-20T06:14:15.457" v="73" actId="1076"/>
        <pc:sldMkLst>
          <pc:docMk/>
          <pc:sldMk cId="1935788925" sldId="2147375038"/>
        </pc:sldMkLst>
        <pc:spChg chg="add mod">
          <ac:chgData name="Zhen Gao" userId="753ca5ad-a66a-4072-86ff-fe9bc8c0233d" providerId="ADAL" clId="{82DA61F6-4BCC-5F42-9CFC-F42AA279B3B8}" dt="2023-06-20T06:14:00.580" v="56" actId="20577"/>
          <ac:spMkLst>
            <pc:docMk/>
            <pc:sldMk cId="1935788925" sldId="2147375038"/>
            <ac:spMk id="8" creationId="{DDB7B798-2D90-F407-64DD-25FB289DE50E}"/>
          </ac:spMkLst>
        </pc:spChg>
        <pc:picChg chg="add del mod">
          <ac:chgData name="Zhen Gao" userId="753ca5ad-a66a-4072-86ff-fe9bc8c0233d" providerId="ADAL" clId="{82DA61F6-4BCC-5F42-9CFC-F42AA279B3B8}" dt="2023-06-20T06:11:56.054" v="6" actId="478"/>
          <ac:picMkLst>
            <pc:docMk/>
            <pc:sldMk cId="1935788925" sldId="2147375038"/>
            <ac:picMk id="3" creationId="{F9075F5F-D678-6CF3-D510-391A35F92316}"/>
          </ac:picMkLst>
        </pc:picChg>
        <pc:picChg chg="add mod">
          <ac:chgData name="Zhen Gao" userId="753ca5ad-a66a-4072-86ff-fe9bc8c0233d" providerId="ADAL" clId="{82DA61F6-4BCC-5F42-9CFC-F42AA279B3B8}" dt="2023-06-20T06:14:11.323" v="72" actId="1036"/>
          <ac:picMkLst>
            <pc:docMk/>
            <pc:sldMk cId="1935788925" sldId="2147375038"/>
            <ac:picMk id="5" creationId="{2831A777-00A6-FC1D-5037-152242140B89}"/>
          </ac:picMkLst>
        </pc:picChg>
        <pc:picChg chg="add mod">
          <ac:chgData name="Zhen Gao" userId="753ca5ad-a66a-4072-86ff-fe9bc8c0233d" providerId="ADAL" clId="{82DA61F6-4BCC-5F42-9CFC-F42AA279B3B8}" dt="2023-06-20T06:14:15.457" v="73" actId="1076"/>
          <ac:picMkLst>
            <pc:docMk/>
            <pc:sldMk cId="1935788925" sldId="2147375038"/>
            <ac:picMk id="7" creationId="{F270205D-61EB-906A-023D-E278D2B0084E}"/>
          </ac:picMkLst>
        </pc:picChg>
      </pc:sldChg>
      <pc:sldChg chg="addSp modSp new mod">
        <pc:chgData name="Zhen Gao" userId="753ca5ad-a66a-4072-86ff-fe9bc8c0233d" providerId="ADAL" clId="{82DA61F6-4BCC-5F42-9CFC-F42AA279B3B8}" dt="2023-06-20T06:14:33.439" v="78" actId="14100"/>
        <pc:sldMkLst>
          <pc:docMk/>
          <pc:sldMk cId="959553882" sldId="2147375039"/>
        </pc:sldMkLst>
        <pc:spChg chg="add mod">
          <ac:chgData name="Zhen Gao" userId="753ca5ad-a66a-4072-86ff-fe9bc8c0233d" providerId="ADAL" clId="{82DA61F6-4BCC-5F42-9CFC-F42AA279B3B8}" dt="2023-06-20T06:14:21.415" v="74"/>
          <ac:spMkLst>
            <pc:docMk/>
            <pc:sldMk cId="959553882" sldId="2147375039"/>
            <ac:spMk id="6" creationId="{809A1CDC-F56C-370C-4696-D970055822B8}"/>
          </ac:spMkLst>
        </pc:spChg>
        <pc:picChg chg="add mod">
          <ac:chgData name="Zhen Gao" userId="753ca5ad-a66a-4072-86ff-fe9bc8c0233d" providerId="ADAL" clId="{82DA61F6-4BCC-5F42-9CFC-F42AA279B3B8}" dt="2023-06-20T06:14:33.439" v="78" actId="14100"/>
          <ac:picMkLst>
            <pc:docMk/>
            <pc:sldMk cId="959553882" sldId="2147375039"/>
            <ac:picMk id="3" creationId="{7DC1FEE0-DF22-62DD-5F61-1FE4D855B054}"/>
          </ac:picMkLst>
        </pc:picChg>
        <pc:picChg chg="add mod">
          <ac:chgData name="Zhen Gao" userId="753ca5ad-a66a-4072-86ff-fe9bc8c0233d" providerId="ADAL" clId="{82DA61F6-4BCC-5F42-9CFC-F42AA279B3B8}" dt="2023-06-20T06:14:27.821" v="76" actId="14100"/>
          <ac:picMkLst>
            <pc:docMk/>
            <pc:sldMk cId="959553882" sldId="2147375039"/>
            <ac:picMk id="5" creationId="{2602D255-87FB-FF48-5A25-F75080075668}"/>
          </ac:picMkLst>
        </pc:picChg>
      </pc:sldChg>
      <pc:sldChg chg="new del ord">
        <pc:chgData name="Zhen Gao" userId="753ca5ad-a66a-4072-86ff-fe9bc8c0233d" providerId="ADAL" clId="{82DA61F6-4BCC-5F42-9CFC-F42AA279B3B8}" dt="2023-06-20T06:24:46.623" v="489" actId="2696"/>
        <pc:sldMkLst>
          <pc:docMk/>
          <pc:sldMk cId="2873339904" sldId="2147375040"/>
        </pc:sldMkLst>
      </pc:sldChg>
      <pc:sldChg chg="delSp new del mod">
        <pc:chgData name="Zhen Gao" userId="753ca5ad-a66a-4072-86ff-fe9bc8c0233d" providerId="ADAL" clId="{82DA61F6-4BCC-5F42-9CFC-F42AA279B3B8}" dt="2023-06-20T06:24:19.142" v="484" actId="2696"/>
        <pc:sldMkLst>
          <pc:docMk/>
          <pc:sldMk cId="3311372139" sldId="2147375040"/>
        </pc:sldMkLst>
        <pc:spChg chg="del">
          <ac:chgData name="Zhen Gao" userId="753ca5ad-a66a-4072-86ff-fe9bc8c0233d" providerId="ADAL" clId="{82DA61F6-4BCC-5F42-9CFC-F42AA279B3B8}" dt="2023-06-20T06:24:06.316" v="483" actId="478"/>
          <ac:spMkLst>
            <pc:docMk/>
            <pc:sldMk cId="3311372139" sldId="2147375040"/>
            <ac:spMk id="2" creationId="{7D178B7C-B87C-4C2A-9E51-FF8C483DB642}"/>
          </ac:spMkLst>
        </pc:spChg>
      </pc:sldChg>
      <pc:sldChg chg="addSp delSp modSp add mod ord">
        <pc:chgData name="Zhen Gao" userId="753ca5ad-a66a-4072-86ff-fe9bc8c0233d" providerId="ADAL" clId="{82DA61F6-4BCC-5F42-9CFC-F42AA279B3B8}" dt="2023-06-20T06:28:42.485" v="738" actId="20577"/>
        <pc:sldMkLst>
          <pc:docMk/>
          <pc:sldMk cId="2027722542" sldId="2147375041"/>
        </pc:sldMkLst>
        <pc:spChg chg="add mod">
          <ac:chgData name="Zhen Gao" userId="753ca5ad-a66a-4072-86ff-fe9bc8c0233d" providerId="ADAL" clId="{82DA61F6-4BCC-5F42-9CFC-F42AA279B3B8}" dt="2023-06-20T06:28:42.485" v="738" actId="20577"/>
          <ac:spMkLst>
            <pc:docMk/>
            <pc:sldMk cId="2027722542" sldId="2147375041"/>
            <ac:spMk id="3" creationId="{FDB2E005-BA5F-E4A7-D47D-B7E5F4F47E52}"/>
          </ac:spMkLst>
        </pc:spChg>
        <pc:spChg chg="mod">
          <ac:chgData name="Zhen Gao" userId="753ca5ad-a66a-4072-86ff-fe9bc8c0233d" providerId="ADAL" clId="{82DA61F6-4BCC-5F42-9CFC-F42AA279B3B8}" dt="2023-06-20T06:26:50.316" v="596" actId="20577"/>
          <ac:spMkLst>
            <pc:docMk/>
            <pc:sldMk cId="2027722542" sldId="2147375041"/>
            <ac:spMk id="4" creationId="{CDF8B4E8-D175-FB84-6B07-C06264004D3F}"/>
          </ac:spMkLst>
        </pc:spChg>
        <pc:picChg chg="del">
          <ac:chgData name="Zhen Gao" userId="753ca5ad-a66a-4072-86ff-fe9bc8c0233d" providerId="ADAL" clId="{82DA61F6-4BCC-5F42-9CFC-F42AA279B3B8}" dt="2023-06-20T06:24:50.269" v="490" actId="478"/>
          <ac:picMkLst>
            <pc:docMk/>
            <pc:sldMk cId="2027722542" sldId="2147375041"/>
            <ac:picMk id="5" creationId="{4C5C2A72-9952-FDC7-CA89-D949DCD0271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E889C-2C59-1847-8C6B-C876D04F0052}" type="datetimeFigureOut">
              <a:rPr lang="en-US" smtClean="0"/>
              <a:t>6/2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FCCFA-C4D0-1E44-B583-A03B2189E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96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418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149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06F22-674D-08F8-F270-C52D412C08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A2517F-7422-E814-2324-79AA321CB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52E9B-BBBE-CAF8-7D67-D16301F81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A2F08-70A6-1B4F-979C-B378C44F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4242F-BA7D-3E7F-E595-33C575881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13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0CC8-A41B-7CE4-8EAC-965B8CDA6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F81291-A205-52C5-89C1-A537863EB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B5821D-1A3B-D7DE-607B-33969D0D8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116F3-4612-C1AC-118B-B34B6D457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38328-63DB-32F4-877A-806A50D96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402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D33AC2-1AE0-6E99-EFCE-490B88CEB0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EFB8C8-4D39-41A3-1DCF-2CF31B05DF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B8448-9940-C518-C1A8-CBCE4DB3A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DFD34-ED2C-0F32-9553-039674E5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727F1-1CF6-D312-7D16-58F248CCE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70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0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EB787-6DE8-CD03-C065-72D7C7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2020F2-EEF7-0CDA-6A08-A7885754EE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763CA-A36D-4C49-6534-4E1B68E9C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36D66-9B71-AF9D-5B65-D0A10F2BA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EA6AB-97FE-02EA-5C87-3B429E4B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46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09A-EBA3-3491-A468-C4E819266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61B3D-777A-3F72-C658-7A85973BA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620CF-52DC-3F6B-2AD8-86DC04BE2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0F819A-BA71-18CA-166D-44F8C99FB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20128-FE2A-F9F9-7687-E15C9751D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32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E142F-D485-38B7-5958-FA2D80E2F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3DD84-A30A-0E2B-27D3-DD96B0C126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19481B-9381-5AD2-5AE5-CDE13F70A3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2087C-B2BF-593C-4A65-630A99C50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E2C1B-71A5-BDC4-51DB-E0053F84A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BD731-AD15-EC58-30BF-AC1D90B9B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886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E1A6C-B589-3FC5-8281-CF21F278D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7AC41B-0762-1EC9-59D3-1F76D21AD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A8523-23CC-0982-02F0-4FD3086A7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B3D4D-B63F-63D8-53AE-6F08F694F7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4B694D-F623-0063-C08E-4DF5A56B75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A03DAC-459B-16CB-C3B0-97682F69B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80D9AE-6BD6-A156-2631-6B32E173D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BC6189-36A0-3576-C76C-CBF4C5A82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20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A6D4A-2CA1-12F3-F187-A127CFCA5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FE1663-C1C4-FF8E-BC80-4E1513B38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73D30-CE64-D248-C921-5C6534DA6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87861-7B80-2724-9267-B6525C2E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327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46AC74-C028-14DB-4DAB-3949B219A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36ABF-654B-9294-9DCB-FDF391F10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4ECF9-10EF-0E0D-0493-BC5F928D9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90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E81BF-38B5-FE68-394E-ED8525C7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97667-AACC-2DD3-4281-176C6E261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921FE7-54DE-FFEB-479E-8FF4383E23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F1946-9A03-096D-50EA-99EE68695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40FF6-CEA6-A433-CDD6-D362B6213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50077C-A481-0880-329B-7A45BE9B1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104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30B57-12A6-0EEF-DFA7-40C41CA20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50479B-A24E-95AD-8B89-248321BB4B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2A3E53-3FD1-5D51-D660-60A32200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20E89-5E9E-BC17-4253-B763E256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562AF-9737-B58B-5D87-AA29CA09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68DED7-1A90-9736-90B5-1F9952937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956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61F0E8-E3D0-3CF6-D2A8-5172280BD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D5179-D7EE-487E-C50F-20DC102B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1ED1-1828-2B24-7E60-16DECC2824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AC2DA-610F-4D32-B494-6EAFA7CFA318}" type="datetimeFigureOut">
              <a:rPr lang="en-US" smtClean="0"/>
              <a:t>6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3860D1-32BB-FD0E-7E72-0D00570A0C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00DE6-C4BA-93F0-0976-9ECE4A95B8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15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June 0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1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err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 for HTT Splicing Enhancers</a:t>
            </a:r>
          </a:p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DEG vs DSG  --- TST12086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PTC518/</a:t>
            </a:r>
            <a:r>
              <a:rPr lang="en-US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Branaplam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in NGN2 cells and Risdiplam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in iPSC-MNs  </a:t>
            </a:r>
          </a:p>
        </p:txBody>
      </p:sp>
      <p:pic>
        <p:nvPicPr>
          <p:cNvPr id="5" name="Picture 4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4C5C2A72-9952-FDC7-CA89-D949DCD027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336" y="914400"/>
            <a:ext cx="5158946" cy="51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618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400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: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) Both DEG and DSG were getting better from batch 1 , 2, an 3 in all the cell types tested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) The DEG/DSG are quite different across 3 cell types. Sy5Y and iPSC were more similar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)  The DEG/DSG are only overlapped with very low frequency. 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sign, Description and Aims: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B2E005-BA5F-E4A7-D47D-B7E5F4F47E52}"/>
              </a:ext>
            </a:extLst>
          </p:cNvPr>
          <p:cNvSpPr txBox="1"/>
          <p:nvPr/>
        </p:nvSpPr>
        <p:spPr>
          <a:xfrm>
            <a:off x="852522" y="1020745"/>
            <a:ext cx="10457161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esign:</a:t>
            </a:r>
          </a:p>
          <a:p>
            <a:r>
              <a:rPr lang="en-US" dirty="0"/>
              <a:t>7 SM compounds + DMSO vehicle (4 internal compounds, 3 competitor benchmark compounds, DMSO)</a:t>
            </a:r>
            <a:br>
              <a:rPr lang="en-US" dirty="0"/>
            </a:br>
            <a:endParaRPr lang="en-US" dirty="0"/>
          </a:p>
          <a:p>
            <a:r>
              <a:rPr lang="en-US" dirty="0"/>
              <a:t>-2 doses per compound (3x and 10x IC50)</a:t>
            </a:r>
            <a:br>
              <a:rPr lang="en-US" dirty="0"/>
            </a:br>
            <a:r>
              <a:rPr lang="en-US" dirty="0"/>
              <a:t>-4 biological replicates, and 3 were used in data analysis</a:t>
            </a:r>
            <a:br>
              <a:rPr lang="en-US" dirty="0"/>
            </a:br>
            <a:r>
              <a:rPr lang="en-US" dirty="0"/>
              <a:t>-3 cell lines (NGN2, iPSC, SH-SY5Y)</a:t>
            </a:r>
          </a:p>
          <a:p>
            <a:endParaRPr lang="en-US" dirty="0"/>
          </a:p>
          <a:p>
            <a:r>
              <a:rPr lang="en-US" dirty="0"/>
              <a:t>Description:</a:t>
            </a:r>
            <a:br>
              <a:rPr lang="en-US" dirty="0"/>
            </a:br>
            <a:r>
              <a:rPr lang="en-US" dirty="0"/>
              <a:t>-Total number of samples: 180</a:t>
            </a:r>
            <a:br>
              <a:rPr lang="en-US" dirty="0"/>
            </a:br>
            <a:r>
              <a:rPr lang="en-US" dirty="0"/>
              <a:t>-Bulk, </a:t>
            </a:r>
            <a:r>
              <a:rPr lang="en-US" dirty="0" err="1"/>
              <a:t>polyA</a:t>
            </a:r>
            <a:r>
              <a:rPr lang="en-US" dirty="0"/>
              <a:t>-selected, stranded, paired-end RNA-seq</a:t>
            </a:r>
            <a:br>
              <a:rPr lang="en-US" dirty="0"/>
            </a:br>
            <a:r>
              <a:rPr lang="en-US" dirty="0"/>
              <a:t>-75x75 or longer paired end sequencing</a:t>
            </a:r>
            <a:br>
              <a:rPr lang="en-US" dirty="0"/>
            </a:br>
            <a:endParaRPr lang="en-US" dirty="0"/>
          </a:p>
          <a:p>
            <a:r>
              <a:rPr lang="en-US" dirty="0"/>
              <a:t>Aims:</a:t>
            </a:r>
            <a:br>
              <a:rPr lang="en-US" dirty="0"/>
            </a:br>
            <a:r>
              <a:rPr lang="en-US" dirty="0"/>
              <a:t>-Explore DSG/DEG difference and relationship</a:t>
            </a:r>
          </a:p>
          <a:p>
            <a:r>
              <a:rPr lang="en-US" dirty="0"/>
              <a:t>-Comparison between compounds within each cell type to identify common and unique genes/events that are differentially spliced</a:t>
            </a:r>
          </a:p>
          <a:p>
            <a:r>
              <a:rPr lang="en-US" dirty="0"/>
              <a:t>-Comparison of OT DSGs between cell lines for each compound</a:t>
            </a:r>
            <a:br>
              <a:rPr lang="en-US" dirty="0"/>
            </a:br>
            <a:r>
              <a:rPr lang="en-US" dirty="0"/>
              <a:t>-Motif analysis for each compound differentially spliced ev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722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18A901-0072-B33A-7897-C127D1B9CB05}"/>
              </a:ext>
            </a:extLst>
          </p:cNvPr>
          <p:cNvSpPr txBox="1"/>
          <p:nvPr/>
        </p:nvSpPr>
        <p:spPr>
          <a:xfrm>
            <a:off x="758757" y="544749"/>
            <a:ext cx="48217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 bar graphs comparing the 3 batches of RNA-seq</a:t>
            </a:r>
          </a:p>
          <a:p>
            <a:r>
              <a:rPr lang="en-US" dirty="0"/>
              <a:t>Number of DSG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9BF8BC-4BB5-B349-062A-404B0DDABB53}"/>
              </a:ext>
            </a:extLst>
          </p:cNvPr>
          <p:cNvSpPr txBox="1"/>
          <p:nvPr/>
        </p:nvSpPr>
        <p:spPr>
          <a:xfrm>
            <a:off x="9348281" y="447472"/>
            <a:ext cx="678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4B7961-1311-3B5E-68D5-6740339D9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66" y="1344705"/>
            <a:ext cx="5040132" cy="505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D9DCC4-6041-F828-5764-3CAC0917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540" y="1191080"/>
            <a:ext cx="5326595" cy="532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5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FBBB86-4459-617A-22EB-CB675681D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1982" y="831779"/>
            <a:ext cx="4844979" cy="48589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BF570E5-D053-6DDC-8F81-36A6A31BB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12" y="878384"/>
            <a:ext cx="4765691" cy="4765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139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31A777-00A6-FC1D-5037-15224214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49" y="977949"/>
            <a:ext cx="5214551" cy="52145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0205D-61EB-906A-023D-E278D2B00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866" y="929823"/>
            <a:ext cx="5556422" cy="55564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B7B798-2D90-F407-64DD-25FB289DE50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788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C1FEE0-DF22-62DD-5F61-1FE4D855B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63" y="880304"/>
            <a:ext cx="5977696" cy="5977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02D255-87FB-FF48-5A25-F75080075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070" y="876183"/>
            <a:ext cx="5977696" cy="59776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9A1CDC-F56C-370C-4696-D970055822B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553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2039752-91D1-5C56-9749-A833A8FF4C36}"/>
              </a:ext>
            </a:extLst>
          </p:cNvPr>
          <p:cNvSpPr txBox="1"/>
          <p:nvPr/>
        </p:nvSpPr>
        <p:spPr>
          <a:xfrm>
            <a:off x="307746" y="391886"/>
            <a:ext cx="4951773" cy="64633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HTT sashimi-plot across 3 cell types</a:t>
            </a:r>
          </a:p>
        </p:txBody>
      </p:sp>
      <p:pic>
        <p:nvPicPr>
          <p:cNvPr id="30" name="Picture 29" descr="A picture containing text, screenshot, colorfulness, diagram&#10;&#10;Description automatically generated">
            <a:extLst>
              <a:ext uri="{FF2B5EF4-FFF2-40B4-BE49-F238E27FC236}">
                <a16:creationId xmlns:a16="http://schemas.microsoft.com/office/drawing/2014/main" id="{A2C8F4A4-BFAC-6DCD-9D94-FE79B90FB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3332" y="0"/>
            <a:ext cx="4223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6377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367480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90</TotalTime>
  <Words>286</Words>
  <Application>Microsoft Macintosh PowerPoint</Application>
  <PresentationFormat>Widescreen</PresentationFormat>
  <Paragraphs>39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io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on Lee</dc:creator>
  <cp:lastModifiedBy>Zhen Gao</cp:lastModifiedBy>
  <cp:revision>3</cp:revision>
  <dcterms:created xsi:type="dcterms:W3CDTF">2023-04-24T14:22:28Z</dcterms:created>
  <dcterms:modified xsi:type="dcterms:W3CDTF">2023-06-20T06:29:56Z</dcterms:modified>
</cp:coreProperties>
</file>